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2" r:id="rId4"/>
  </p:sldMasterIdLst>
  <p:notesMasterIdLst>
    <p:notesMasterId r:id="rId6"/>
  </p:notesMasterIdLst>
  <p:sldIdLst>
    <p:sldId id="352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uong Quang, Tuan" initials="DQT" lastIdx="1" clrIdx="0">
    <p:extLst>
      <p:ext uri="{19B8F6BF-5375-455C-9EA6-DF929625EA0E}">
        <p15:presenceInfo xmlns:p15="http://schemas.microsoft.com/office/powerpoint/2012/main" userId="S::duong-tu@de001.itgr.net::54dae66c-87ae-48fa-b235-181973d599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FFF5CC"/>
    <a:srgbClr val="878787"/>
    <a:srgbClr val="FFFFE3"/>
    <a:srgbClr val="FFFFFF"/>
    <a:srgbClr val="53431D"/>
    <a:srgbClr val="1D2D53"/>
    <a:srgbClr val="878167"/>
    <a:srgbClr val="E1E1E1"/>
    <a:srgbClr val="ADB9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100D11-CEB4-49A5-9423-E451B339178A}" v="9" dt="2023-06-08T13:23:28.7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50" autoAdjust="0"/>
    <p:restoredTop sz="96224" autoAdjust="0"/>
  </p:normalViewPr>
  <p:slideViewPr>
    <p:cSldViewPr snapToGrid="0" showGuides="1">
      <p:cViewPr varScale="1">
        <p:scale>
          <a:sx n="106" d="100"/>
          <a:sy n="106" d="100"/>
        </p:scale>
        <p:origin x="1104" y="10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commentAuthors" Target="commentAuthors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oenawa, Stefan, Dr. (K-GERM/A)" userId="8dc04fa1-3d5c-4deb-b8d4-5db522f75d52" providerId="ADAL" clId="{C0100D11-CEB4-49A5-9423-E451B339178A}"/>
    <pc:docChg chg="undo custSel addSld delSld modSld">
      <pc:chgData name="Schoenawa, Stefan, Dr. (K-GERM/A)" userId="8dc04fa1-3d5c-4deb-b8d4-5db522f75d52" providerId="ADAL" clId="{C0100D11-CEB4-49A5-9423-E451B339178A}" dt="2023-06-08T13:34:34.433" v="956" actId="14100"/>
      <pc:docMkLst>
        <pc:docMk/>
      </pc:docMkLst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255327338" sldId="275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1727531751" sldId="306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1463598813" sldId="309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2866804005" sldId="312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1352499333" sldId="315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1584563384" sldId="318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1689635600" sldId="323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3181326755" sldId="324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2538103618" sldId="329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303715076" sldId="332"/>
        </pc:sldMkLst>
      </pc:sldChg>
      <pc:sldChg chg="addSp delSp modSp del mod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797748626" sldId="337"/>
        </pc:sldMkLst>
        <pc:spChg chg="mod">
          <ac:chgData name="Schoenawa, Stefan, Dr. (K-GERM/A)" userId="8dc04fa1-3d5c-4deb-b8d4-5db522f75d52" providerId="ADAL" clId="{C0100D11-CEB4-49A5-9423-E451B339178A}" dt="2023-06-08T12:45:52.478" v="313" actId="207"/>
          <ac:spMkLst>
            <pc:docMk/>
            <pc:sldMk cId="797748626" sldId="337"/>
            <ac:spMk id="5" creationId="{00000000-0000-0000-0000-000000000000}"/>
          </ac:spMkLst>
        </pc:spChg>
        <pc:spChg chg="mod">
          <ac:chgData name="Schoenawa, Stefan, Dr. (K-GERM/A)" userId="8dc04fa1-3d5c-4deb-b8d4-5db522f75d52" providerId="ADAL" clId="{C0100D11-CEB4-49A5-9423-E451B339178A}" dt="2023-06-08T13:21:22.346" v="809" actId="207"/>
          <ac:spMkLst>
            <pc:docMk/>
            <pc:sldMk cId="797748626" sldId="337"/>
            <ac:spMk id="9" creationId="{00000000-0000-0000-0000-000000000000}"/>
          </ac:spMkLst>
        </pc:spChg>
        <pc:spChg chg="add del">
          <ac:chgData name="Schoenawa, Stefan, Dr. (K-GERM/A)" userId="8dc04fa1-3d5c-4deb-b8d4-5db522f75d52" providerId="ADAL" clId="{C0100D11-CEB4-49A5-9423-E451B339178A}" dt="2023-06-08T12:48:29.257" v="346" actId="22"/>
          <ac:spMkLst>
            <pc:docMk/>
            <pc:sldMk cId="797748626" sldId="337"/>
            <ac:spMk id="11" creationId="{1E9240F8-B7E6-D57E-E98E-5ABC8DDC010A}"/>
          </ac:spMkLst>
        </pc:spChg>
        <pc:spChg chg="add del mod">
          <ac:chgData name="Schoenawa, Stefan, Dr. (K-GERM/A)" userId="8dc04fa1-3d5c-4deb-b8d4-5db522f75d52" providerId="ADAL" clId="{C0100D11-CEB4-49A5-9423-E451B339178A}" dt="2023-06-08T12:49:21.987" v="360" actId="21"/>
          <ac:spMkLst>
            <pc:docMk/>
            <pc:sldMk cId="797748626" sldId="337"/>
            <ac:spMk id="13" creationId="{7BF76CFF-DECF-0AE3-719C-ED82AE8AA7FB}"/>
          </ac:spMkLst>
        </pc:spChg>
        <pc:spChg chg="add del mod">
          <ac:chgData name="Schoenawa, Stefan, Dr. (K-GERM/A)" userId="8dc04fa1-3d5c-4deb-b8d4-5db522f75d52" providerId="ADAL" clId="{C0100D11-CEB4-49A5-9423-E451B339178A}" dt="2023-06-08T12:49:21.987" v="360" actId="21"/>
          <ac:spMkLst>
            <pc:docMk/>
            <pc:sldMk cId="797748626" sldId="337"/>
            <ac:spMk id="15" creationId="{ADCF3E9D-9D42-E044-6796-9676203830F0}"/>
          </ac:spMkLst>
        </pc:spChg>
        <pc:spChg chg="add del mod">
          <ac:chgData name="Schoenawa, Stefan, Dr. (K-GERM/A)" userId="8dc04fa1-3d5c-4deb-b8d4-5db522f75d52" providerId="ADAL" clId="{C0100D11-CEB4-49A5-9423-E451B339178A}" dt="2023-06-08T12:49:21.987" v="360" actId="21"/>
          <ac:spMkLst>
            <pc:docMk/>
            <pc:sldMk cId="797748626" sldId="337"/>
            <ac:spMk id="17" creationId="{C2248798-552C-5177-DD29-B2C2FCAF76E7}"/>
          </ac:spMkLst>
        </pc:spChg>
        <pc:spChg chg="add del mod">
          <ac:chgData name="Schoenawa, Stefan, Dr. (K-GERM/A)" userId="8dc04fa1-3d5c-4deb-b8d4-5db522f75d52" providerId="ADAL" clId="{C0100D11-CEB4-49A5-9423-E451B339178A}" dt="2023-06-08T12:49:21.987" v="360" actId="21"/>
          <ac:spMkLst>
            <pc:docMk/>
            <pc:sldMk cId="797748626" sldId="337"/>
            <ac:spMk id="18" creationId="{92BE0C4A-5A38-5C8C-ABA7-B86834FEBF11}"/>
          </ac:spMkLst>
        </pc:spChg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3418878441" sldId="338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3690956073" sldId="342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2694964815" sldId="345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3783484383" sldId="346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2584769006" sldId="349"/>
        </pc:sldMkLst>
      </pc:sldChg>
      <pc:sldChg chg="del">
        <pc:chgData name="Schoenawa, Stefan, Dr. (K-GERM/A)" userId="8dc04fa1-3d5c-4deb-b8d4-5db522f75d52" providerId="ADAL" clId="{C0100D11-CEB4-49A5-9423-E451B339178A}" dt="2023-06-08T13:25:21.562" v="936" actId="47"/>
        <pc:sldMkLst>
          <pc:docMk/>
          <pc:sldMk cId="1305371391" sldId="351"/>
        </pc:sldMkLst>
      </pc:sldChg>
      <pc:sldChg chg="addSp delSp modSp new mod">
        <pc:chgData name="Schoenawa, Stefan, Dr. (K-GERM/A)" userId="8dc04fa1-3d5c-4deb-b8d4-5db522f75d52" providerId="ADAL" clId="{C0100D11-CEB4-49A5-9423-E451B339178A}" dt="2023-06-08T13:34:34.433" v="956" actId="14100"/>
        <pc:sldMkLst>
          <pc:docMk/>
          <pc:sldMk cId="768670419" sldId="352"/>
        </pc:sldMkLst>
        <pc:spChg chg="mod">
          <ac:chgData name="Schoenawa, Stefan, Dr. (K-GERM/A)" userId="8dc04fa1-3d5c-4deb-b8d4-5db522f75d52" providerId="ADAL" clId="{C0100D11-CEB4-49A5-9423-E451B339178A}" dt="2023-06-08T13:32:35.955" v="937" actId="6549"/>
          <ac:spMkLst>
            <pc:docMk/>
            <pc:sldMk cId="768670419" sldId="352"/>
            <ac:spMk id="2" creationId="{A9A5E46A-3DB7-C4C8-A7C0-58A1AED577D7}"/>
          </ac:spMkLst>
        </pc:spChg>
        <pc:spChg chg="del">
          <ac:chgData name="Schoenawa, Stefan, Dr. (K-GERM/A)" userId="8dc04fa1-3d5c-4deb-b8d4-5db522f75d52" providerId="ADAL" clId="{C0100D11-CEB4-49A5-9423-E451B339178A}" dt="2023-06-08T12:31:40.064" v="28" actId="478"/>
          <ac:spMkLst>
            <pc:docMk/>
            <pc:sldMk cId="768670419" sldId="352"/>
            <ac:spMk id="3" creationId="{BAB496AE-20D0-DBFB-059A-DC64657C0967}"/>
          </ac:spMkLst>
        </pc:spChg>
        <pc:spChg chg="mod">
          <ac:chgData name="Schoenawa, Stefan, Dr. (K-GERM/A)" userId="8dc04fa1-3d5c-4deb-b8d4-5db522f75d52" providerId="ADAL" clId="{C0100D11-CEB4-49A5-9423-E451B339178A}" dt="2023-06-08T12:41:13.591" v="29"/>
          <ac:spMkLst>
            <pc:docMk/>
            <pc:sldMk cId="768670419" sldId="352"/>
            <ac:spMk id="4" creationId="{C959A2A7-AC15-B14B-4583-296A23DE7103}"/>
          </ac:spMkLst>
        </pc:spChg>
        <pc:spChg chg="mod">
          <ac:chgData name="Schoenawa, Stefan, Dr. (K-GERM/A)" userId="8dc04fa1-3d5c-4deb-b8d4-5db522f75d52" providerId="ADAL" clId="{C0100D11-CEB4-49A5-9423-E451B339178A}" dt="2023-06-08T12:41:13.591" v="29"/>
          <ac:spMkLst>
            <pc:docMk/>
            <pc:sldMk cId="768670419" sldId="352"/>
            <ac:spMk id="5" creationId="{D003163A-09DE-E232-3056-9743F8C74875}"/>
          </ac:spMkLst>
        </pc:spChg>
        <pc:spChg chg="add del mod">
          <ac:chgData name="Schoenawa, Stefan, Dr. (K-GERM/A)" userId="8dc04fa1-3d5c-4deb-b8d4-5db522f75d52" providerId="ADAL" clId="{C0100D11-CEB4-49A5-9423-E451B339178A}" dt="2023-06-08T12:41:13.591" v="29"/>
          <ac:spMkLst>
            <pc:docMk/>
            <pc:sldMk cId="768670419" sldId="352"/>
            <ac:spMk id="6" creationId="{41F660BD-F196-7CCB-EDDB-326D91743ECF}"/>
          </ac:spMkLst>
        </pc:spChg>
        <pc:spChg chg="add del mod">
          <ac:chgData name="Schoenawa, Stefan, Dr. (K-GERM/A)" userId="8dc04fa1-3d5c-4deb-b8d4-5db522f75d52" providerId="ADAL" clId="{C0100D11-CEB4-49A5-9423-E451B339178A}" dt="2023-06-08T12:41:13.591" v="29"/>
          <ac:spMkLst>
            <pc:docMk/>
            <pc:sldMk cId="768670419" sldId="352"/>
            <ac:spMk id="7" creationId="{E7BA0575-C9BF-FF7D-138D-1FA684E9AE13}"/>
          </ac:spMkLst>
        </pc:spChg>
        <pc:spChg chg="add del mod">
          <ac:chgData name="Schoenawa, Stefan, Dr. (K-GERM/A)" userId="8dc04fa1-3d5c-4deb-b8d4-5db522f75d52" providerId="ADAL" clId="{C0100D11-CEB4-49A5-9423-E451B339178A}" dt="2023-06-08T12:41:13.591" v="29"/>
          <ac:spMkLst>
            <pc:docMk/>
            <pc:sldMk cId="768670419" sldId="352"/>
            <ac:spMk id="8" creationId="{3ED9F78B-CEB6-6763-F6FD-98EF0E00BBF1}"/>
          </ac:spMkLst>
        </pc:spChg>
        <pc:spChg chg="add mod">
          <ac:chgData name="Schoenawa, Stefan, Dr. (K-GERM/A)" userId="8dc04fa1-3d5c-4deb-b8d4-5db522f75d52" providerId="ADAL" clId="{C0100D11-CEB4-49A5-9423-E451B339178A}" dt="2023-06-08T13:34:16.731" v="955" actId="20577"/>
          <ac:spMkLst>
            <pc:docMk/>
            <pc:sldMk cId="768670419" sldId="352"/>
            <ac:spMk id="9" creationId="{3E692F8C-3881-9CBF-4D0B-64A5237336D6}"/>
          </ac:spMkLst>
        </pc:spChg>
        <pc:spChg chg="add mod">
          <ac:chgData name="Schoenawa, Stefan, Dr. (K-GERM/A)" userId="8dc04fa1-3d5c-4deb-b8d4-5db522f75d52" providerId="ADAL" clId="{C0100D11-CEB4-49A5-9423-E451B339178A}" dt="2023-06-08T13:34:34.433" v="956" actId="14100"/>
          <ac:spMkLst>
            <pc:docMk/>
            <pc:sldMk cId="768670419" sldId="352"/>
            <ac:spMk id="12" creationId="{93996297-3FD3-50EA-B58D-25CA2EE1F804}"/>
          </ac:spMkLst>
        </pc:spChg>
        <pc:spChg chg="add mod">
          <ac:chgData name="Schoenawa, Stefan, Dr. (K-GERM/A)" userId="8dc04fa1-3d5c-4deb-b8d4-5db522f75d52" providerId="ADAL" clId="{C0100D11-CEB4-49A5-9423-E451B339178A}" dt="2023-06-08T13:34:34.433" v="956" actId="14100"/>
          <ac:spMkLst>
            <pc:docMk/>
            <pc:sldMk cId="768670419" sldId="352"/>
            <ac:spMk id="13" creationId="{E4D4D0B6-B854-6D8C-06D3-BB39168DEBFF}"/>
          </ac:spMkLst>
        </pc:spChg>
        <pc:spChg chg="add mod">
          <ac:chgData name="Schoenawa, Stefan, Dr. (K-GERM/A)" userId="8dc04fa1-3d5c-4deb-b8d4-5db522f75d52" providerId="ADAL" clId="{C0100D11-CEB4-49A5-9423-E451B339178A}" dt="2023-06-08T13:34:34.433" v="956" actId="14100"/>
          <ac:spMkLst>
            <pc:docMk/>
            <pc:sldMk cId="768670419" sldId="352"/>
            <ac:spMk id="14" creationId="{A5FC8404-6872-B060-22D9-F29707F1BBFF}"/>
          </ac:spMkLst>
        </pc:spChg>
        <pc:spChg chg="add mod">
          <ac:chgData name="Schoenawa, Stefan, Dr. (K-GERM/A)" userId="8dc04fa1-3d5c-4deb-b8d4-5db522f75d52" providerId="ADAL" clId="{C0100D11-CEB4-49A5-9423-E451B339178A}" dt="2023-06-08T13:34:34.433" v="956" actId="14100"/>
          <ac:spMkLst>
            <pc:docMk/>
            <pc:sldMk cId="768670419" sldId="352"/>
            <ac:spMk id="15" creationId="{CD4E6969-369A-3C48-02DA-FCAAB810FDDA}"/>
          </ac:spMkLst>
        </pc:spChg>
        <pc:spChg chg="add mod">
          <ac:chgData name="Schoenawa, Stefan, Dr. (K-GERM/A)" userId="8dc04fa1-3d5c-4deb-b8d4-5db522f75d52" providerId="ADAL" clId="{C0100D11-CEB4-49A5-9423-E451B339178A}" dt="2023-06-08T13:34:34.433" v="956" actId="14100"/>
          <ac:spMkLst>
            <pc:docMk/>
            <pc:sldMk cId="768670419" sldId="352"/>
            <ac:spMk id="16" creationId="{7B324C1D-7739-EED1-9F5E-0A4DE11EA91F}"/>
          </ac:spMkLst>
        </pc:spChg>
        <pc:spChg chg="add mod">
          <ac:chgData name="Schoenawa, Stefan, Dr. (K-GERM/A)" userId="8dc04fa1-3d5c-4deb-b8d4-5db522f75d52" providerId="ADAL" clId="{C0100D11-CEB4-49A5-9423-E451B339178A}" dt="2023-06-08T13:34:34.433" v="956" actId="14100"/>
          <ac:spMkLst>
            <pc:docMk/>
            <pc:sldMk cId="768670419" sldId="352"/>
            <ac:spMk id="17" creationId="{588AC61E-195F-14AB-1018-5AA368693B8D}"/>
          </ac:spMkLst>
        </pc:spChg>
        <pc:spChg chg="add mod">
          <ac:chgData name="Schoenawa, Stefan, Dr. (K-GERM/A)" userId="8dc04fa1-3d5c-4deb-b8d4-5db522f75d52" providerId="ADAL" clId="{C0100D11-CEB4-49A5-9423-E451B339178A}" dt="2023-06-08T13:34:34.433" v="956" actId="14100"/>
          <ac:spMkLst>
            <pc:docMk/>
            <pc:sldMk cId="768670419" sldId="352"/>
            <ac:spMk id="18" creationId="{637C6BA9-C2F1-F9B8-5627-5010F49ED7CD}"/>
          </ac:spMkLst>
        </pc:spChg>
        <pc:picChg chg="add del mod">
          <ac:chgData name="Schoenawa, Stefan, Dr. (K-GERM/A)" userId="8dc04fa1-3d5c-4deb-b8d4-5db522f75d52" providerId="ADAL" clId="{C0100D11-CEB4-49A5-9423-E451B339178A}" dt="2023-06-08T12:52:50.322" v="384" actId="478"/>
          <ac:picMkLst>
            <pc:docMk/>
            <pc:sldMk cId="768670419" sldId="352"/>
            <ac:picMk id="11" creationId="{B28DFEED-6966-7643-79F1-734B27C4AD78}"/>
          </ac:picMkLst>
        </pc:picChg>
      </pc:sldChg>
      <pc:sldMasterChg chg="delSldLayout">
        <pc:chgData name="Schoenawa, Stefan, Dr. (K-GERM/A)" userId="8dc04fa1-3d5c-4deb-b8d4-5db522f75d52" providerId="ADAL" clId="{C0100D11-CEB4-49A5-9423-E451B339178A}" dt="2023-06-08T13:25:21.562" v="936" actId="47"/>
        <pc:sldMasterMkLst>
          <pc:docMk/>
          <pc:sldMasterMk cId="0" sldId="2147483742"/>
        </pc:sldMasterMkLst>
        <pc:sldLayoutChg chg="del">
          <pc:chgData name="Schoenawa, Stefan, Dr. (K-GERM/A)" userId="8dc04fa1-3d5c-4deb-b8d4-5db522f75d52" providerId="ADAL" clId="{C0100D11-CEB4-49A5-9423-E451B339178A}" dt="2023-06-08T13:25:21.562" v="936" actId="47"/>
          <pc:sldLayoutMkLst>
            <pc:docMk/>
            <pc:sldMasterMk cId="0" sldId="2147483742"/>
            <pc:sldLayoutMk cId="2199577655" sldId="214748376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23DC7E-545F-4537-850F-CC5C2B410559}" type="datetimeFigureOut">
              <a:rPr lang="de-DE" smtClean="0"/>
              <a:pPr/>
              <a:t>08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Textmasterformat bearbeiten</a:t>
            </a:r>
          </a:p>
          <a:p>
            <a:pPr marL="360000" lvl="1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Zweite Ebene</a:t>
            </a:r>
          </a:p>
          <a:p>
            <a:pPr marL="540000" lvl="2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720000" lvl="3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  <a:p>
            <a:pPr marL="900000" lvl="4" indent="-180000">
              <a:spcBef>
                <a:spcPts val="0"/>
              </a:spcBef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7A725A-9256-4EC5-8CDB-4CC5D97770DD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0249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800" kern="1200" dirty="0" smtClean="0">
        <a:solidFill>
          <a:srgbClr val="343434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600" kern="1200" dirty="0" smtClean="0">
        <a:solidFill>
          <a:srgbClr val="343434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600" kern="1200" dirty="0">
        <a:solidFill>
          <a:srgbClr val="343434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432000" cy="701474"/>
          </a:xfrm>
        </p:spPr>
        <p:txBody>
          <a:bodyPr/>
          <a:lstStyle>
            <a:lvl1pPr>
              <a:lnSpc>
                <a:spcPts val="2700"/>
              </a:lnSpc>
              <a:defRPr>
                <a:solidFill>
                  <a:srgbClr val="1E2E55"/>
                </a:solidFill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2"/>
          </p:nvPr>
        </p:nvSpPr>
        <p:spPr>
          <a:xfrm>
            <a:off x="488948" y="1413933"/>
            <a:ext cx="11224685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6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" name="Inhaltsplatzhalter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8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PYRIGHT © 2022, Members of the openPASS WG</a:t>
            </a:r>
            <a:endParaRPr lang="en-US" dirty="0"/>
          </a:p>
        </p:txBody>
      </p:sp>
      <p:sp>
        <p:nvSpPr>
          <p:cNvPr id="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01" userDrawn="1">
          <p15:clr>
            <a:srgbClr val="FBAE40"/>
          </p15:clr>
        </p15:guide>
        <p15:guide id="2" pos="7384" userDrawn="1">
          <p15:clr>
            <a:srgbClr val="FBAE40"/>
          </p15:clr>
        </p15:guide>
        <p15:guide id="3" orient="horz" pos="216" userDrawn="1">
          <p15:clr>
            <a:srgbClr val="FBAE40"/>
          </p15:clr>
        </p15:guide>
        <p15:guide id="4" orient="horz" pos="663" userDrawn="1">
          <p15:clr>
            <a:srgbClr val="FBAE40"/>
          </p15:clr>
        </p15:guide>
        <p15:guide id="5" orient="horz" pos="890" userDrawn="1">
          <p15:clr>
            <a:srgbClr val="FBAE40"/>
          </p15:clr>
        </p15:guide>
        <p15:guide id="6" orient="horz" pos="3858" userDrawn="1">
          <p15:clr>
            <a:srgbClr val="FBAE40"/>
          </p15:clr>
        </p15:guide>
        <p15:guide id="7" orient="horz" pos="4260" userDrawn="1">
          <p15:clr>
            <a:srgbClr val="FBAE40"/>
          </p15:clr>
        </p15:guide>
        <p15:guide id="8" orient="horz" pos="40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11"/>
          <p:cNvSpPr>
            <a:spLocks noGrp="1"/>
          </p:cNvSpPr>
          <p:nvPr>
            <p:ph sz="quarter" idx="16"/>
          </p:nvPr>
        </p:nvSpPr>
        <p:spPr>
          <a:xfrm>
            <a:off x="488948" y="1413933"/>
            <a:ext cx="5486400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7"/>
          </p:nvPr>
        </p:nvSpPr>
        <p:spPr>
          <a:xfrm>
            <a:off x="6193368" y="1413933"/>
            <a:ext cx="5520267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432000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PYRIGHT © 2022, Members of the openPASS W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6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pos="30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Sub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88948" y="1413933"/>
            <a:ext cx="5486400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6194074" y="1413933"/>
            <a:ext cx="5519561" cy="3227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8"/>
          </p:nvPr>
        </p:nvSpPr>
        <p:spPr>
          <a:xfrm>
            <a:off x="488948" y="1795463"/>
            <a:ext cx="5486400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Inhaltsplatzhalter 15"/>
          <p:cNvSpPr>
            <a:spLocks noGrp="1"/>
          </p:cNvSpPr>
          <p:nvPr>
            <p:ph sz="quarter" idx="19"/>
          </p:nvPr>
        </p:nvSpPr>
        <p:spPr>
          <a:xfrm>
            <a:off x="6193368" y="1795463"/>
            <a:ext cx="5520267" cy="432593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cxnSp>
        <p:nvCxnSpPr>
          <p:cNvPr id="10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432000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2" name="Inhaltsplatzhalter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7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PYRIGHT © 2022, Members of the openPASS W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897" userDrawn="1">
          <p15:clr>
            <a:srgbClr val="FBAE40"/>
          </p15:clr>
        </p15:guide>
        <p15:guide id="8" pos="3769" userDrawn="1">
          <p15:clr>
            <a:srgbClr val="FBAE40"/>
          </p15:clr>
        </p15:guide>
        <p15:guide id="9" pos="7384" userDrawn="1">
          <p15:clr>
            <a:srgbClr val="FBAE40"/>
          </p15:clr>
        </p15:guide>
        <p15:guide id="10" orient="horz" pos="1131" userDrawn="1">
          <p15:clr>
            <a:srgbClr val="FBAE40"/>
          </p15:clr>
        </p15:guide>
        <p15:guide id="11" orient="horz" pos="1094" userDrawn="1">
          <p15:clr>
            <a:srgbClr val="FBAE40"/>
          </p15:clr>
        </p15:guide>
        <p15:guide id="12" pos="301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 mit Fuß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85723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cxnSp>
        <p:nvCxnSpPr>
          <p:cNvPr id="7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432000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9" name="Inhaltsplatzhalter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1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OPYRIGHT © 2022, Members of the openPASS WG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 userDrawn="1">
          <p15:clr>
            <a:srgbClr val="FBAE40"/>
          </p15:clr>
        </p15:guide>
        <p15:guide id="2" orient="horz" pos="216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01" userDrawn="1">
          <p15:clr>
            <a:srgbClr val="FBAE40"/>
          </p15:clr>
        </p15:guide>
        <p15:guide id="6" pos="7384" userDrawn="1">
          <p15:clr>
            <a:srgbClr val="FBAE40"/>
          </p15:clr>
        </p15:guide>
        <p15:guide id="7" orient="horz" pos="4042" userDrawn="1">
          <p15:clr>
            <a:srgbClr val="FBAE40"/>
          </p15:clr>
        </p15:guide>
        <p15:guide id="8" orient="horz" pos="42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48" y="1413936"/>
            <a:ext cx="5486400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8" hasCustomPrompt="1"/>
          </p:nvPr>
        </p:nvSpPr>
        <p:spPr>
          <a:xfrm>
            <a:off x="6193368" y="1413936"/>
            <a:ext cx="5520267" cy="260616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8" y="4183352"/>
            <a:ext cx="5486400" cy="1938048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21" hasCustomPrompt="1"/>
          </p:nvPr>
        </p:nvSpPr>
        <p:spPr>
          <a:xfrm>
            <a:off x="6193368" y="4191000"/>
            <a:ext cx="5520267" cy="1930400"/>
          </a:xfr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9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432000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PYRIGHT © 2022, Members of the openPASS W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pos="3896" userDrawn="1">
          <p15:clr>
            <a:srgbClr val="FBAE40"/>
          </p15:clr>
        </p15:guide>
        <p15:guide id="6" pos="301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768" userDrawn="1">
          <p15:clr>
            <a:srgbClr val="FBAE40"/>
          </p15:clr>
        </p15:guide>
        <p15:guide id="9" orient="horz" pos="4042" userDrawn="1">
          <p15:clr>
            <a:srgbClr val="FBAE40"/>
          </p15:clr>
        </p15:guide>
        <p15:guide id="10" orient="horz" pos="4260" userDrawn="1">
          <p15:clr>
            <a:srgbClr val="FBAE40"/>
          </p15:clr>
        </p15:guide>
        <p15:guide id="11" orient="horz" pos="2636" userDrawn="1">
          <p15:clr>
            <a:srgbClr val="FBAE40"/>
          </p15:clr>
        </p15:guide>
        <p15:guide id="12" orient="horz" pos="253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6"/>
          <p:cNvSpPr>
            <a:spLocks noGrp="1"/>
          </p:cNvSpPr>
          <p:nvPr>
            <p:ph type="pic" sz="quarter" idx="24" hasCustomPrompt="1"/>
          </p:nvPr>
        </p:nvSpPr>
        <p:spPr>
          <a:xfrm>
            <a:off x="488950" y="1413933"/>
            <a:ext cx="3578577" cy="1675640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7" name="Bildplatzhalter 6"/>
          <p:cNvSpPr>
            <a:spLocks noGrp="1"/>
          </p:cNvSpPr>
          <p:nvPr>
            <p:ph type="pic" sz="quarter" idx="25" hasCustomPrompt="1"/>
          </p:nvPr>
        </p:nvSpPr>
        <p:spPr>
          <a:xfrm>
            <a:off x="8134521" y="1413936"/>
            <a:ext cx="3579112" cy="1683297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18" name="Bildplatzhalter 6"/>
          <p:cNvSpPr>
            <a:spLocks noGrp="1"/>
          </p:cNvSpPr>
          <p:nvPr>
            <p:ph type="pic" sz="quarter" idx="26" hasCustomPrompt="1"/>
          </p:nvPr>
        </p:nvSpPr>
        <p:spPr>
          <a:xfrm>
            <a:off x="4295424" y="1413933"/>
            <a:ext cx="3584221" cy="1683298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48895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30" hasCustomPrompt="1"/>
          </p:nvPr>
        </p:nvSpPr>
        <p:spPr>
          <a:xfrm>
            <a:off x="4301070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8135058" y="3259666"/>
            <a:ext cx="3578577" cy="2861734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4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1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432000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3" name="Inhaltsplatzhalter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9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PYRIGHT © 2022, Members of the openPASS W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7384" userDrawn="1">
          <p15:clr>
            <a:srgbClr val="FBAE40"/>
          </p15:clr>
        </p15:guide>
        <p15:guide id="8" pos="301" userDrawn="1">
          <p15:clr>
            <a:srgbClr val="FBAE40"/>
          </p15:clr>
        </p15:guide>
        <p15:guide id="9" pos="5120" userDrawn="1">
          <p15:clr>
            <a:srgbClr val="FBAE40"/>
          </p15:clr>
        </p15:guide>
        <p15:guide id="10" pos="4968" userDrawn="1">
          <p15:clr>
            <a:srgbClr val="FBAE40"/>
          </p15:clr>
        </p15:guide>
        <p15:guide id="11" pos="2704" userDrawn="1">
          <p15:clr>
            <a:srgbClr val="FBAE40"/>
          </p15:clr>
        </p15:guide>
        <p15:guide id="12" pos="256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Bildunt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/>
          <p:cNvSpPr>
            <a:spLocks noGrp="1"/>
          </p:cNvSpPr>
          <p:nvPr>
            <p:ph type="pic" sz="quarter" idx="14" hasCustomPrompt="1"/>
          </p:nvPr>
        </p:nvSpPr>
        <p:spPr>
          <a:xfrm>
            <a:off x="488950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20" hasCustomPrompt="1"/>
          </p:nvPr>
        </p:nvSpPr>
        <p:spPr>
          <a:xfrm>
            <a:off x="3352802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1" hasCustomPrompt="1"/>
          </p:nvPr>
        </p:nvSpPr>
        <p:spPr>
          <a:xfrm>
            <a:off x="6220182" y="1413936"/>
            <a:ext cx="2619020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Symbol einfügen</a:t>
            </a:r>
          </a:p>
        </p:txBody>
      </p:sp>
      <p:sp>
        <p:nvSpPr>
          <p:cNvPr id="14" name="Bildplatzhalter 6"/>
          <p:cNvSpPr>
            <a:spLocks noGrp="1"/>
          </p:cNvSpPr>
          <p:nvPr>
            <p:ph type="pic" sz="quarter" idx="22" hasCustomPrompt="1"/>
          </p:nvPr>
        </p:nvSpPr>
        <p:spPr>
          <a:xfrm>
            <a:off x="9096213" y="1413936"/>
            <a:ext cx="2617423" cy="1302299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0" anchor="ctr" anchorCtr="0"/>
          <a:lstStyle>
            <a:lvl1pPr marL="0" indent="0" algn="ctr">
              <a:buNone/>
              <a:defRPr sz="16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       Symbol einfüg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88948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352803" y="2895604"/>
            <a:ext cx="2619021" cy="322579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220180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29" hasCustomPrompt="1"/>
          </p:nvPr>
        </p:nvSpPr>
        <p:spPr>
          <a:xfrm>
            <a:off x="9094612" y="2887134"/>
            <a:ext cx="2619021" cy="3234266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 sz="1200">
                <a:solidFill>
                  <a:srgbClr val="404040"/>
                </a:solidFill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de-DE" dirty="0"/>
              <a:t>Bildunterschrift durch Klicken bearbeiten</a:t>
            </a:r>
          </a:p>
          <a:p>
            <a:pPr lvl="0"/>
            <a:endParaRPr lang="de-DE" dirty="0"/>
          </a:p>
        </p:txBody>
      </p:sp>
      <p:cxnSp>
        <p:nvCxnSpPr>
          <p:cNvPr id="15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432000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7" name="Inhaltsplatzhalter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2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PYRIGHT © 2022, Members of the openPASS W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1960" userDrawn="1">
          <p15:clr>
            <a:srgbClr val="FBAE40"/>
          </p15:clr>
        </p15:guide>
        <p15:guide id="10" pos="2112" userDrawn="1">
          <p15:clr>
            <a:srgbClr val="FBAE40"/>
          </p15:clr>
        </p15:guide>
        <p15:guide id="11" pos="3768" userDrawn="1">
          <p15:clr>
            <a:srgbClr val="FBAE40"/>
          </p15:clr>
        </p15:guide>
        <p15:guide id="12" pos="3912" userDrawn="1">
          <p15:clr>
            <a:srgbClr val="FBAE40"/>
          </p15:clr>
        </p15:guide>
        <p15:guide id="13" pos="5564" userDrawn="1">
          <p15:clr>
            <a:srgbClr val="FBAE40"/>
          </p15:clr>
        </p15:guide>
        <p15:guide id="14" pos="57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mbi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5" hasCustomPrompt="1"/>
          </p:nvPr>
        </p:nvSpPr>
        <p:spPr>
          <a:xfrm>
            <a:off x="488949" y="1413933"/>
            <a:ext cx="5482875" cy="4715934"/>
          </a:xfrm>
          <a:prstGeom prst="rect">
            <a:avLst/>
          </a:prstGeom>
          <a:pattFill prst="wdUpDiag">
            <a:fgClr>
              <a:schemeClr val="bg1">
                <a:lumMod val="75000"/>
              </a:schemeClr>
            </a:fgClr>
            <a:bgClr>
              <a:schemeClr val="bg1"/>
            </a:bgClr>
          </a:pattFill>
        </p:spPr>
        <p:txBody>
          <a:bodyPr tIns="720000" anchor="ctr" anchorCtr="0"/>
          <a:lstStyle>
            <a:lvl1pPr marL="0" indent="0" algn="ctr">
              <a:buNone/>
              <a:defRPr sz="2000">
                <a:latin typeface="+mn-lt"/>
                <a:ea typeface="BMW Type Global Pro Regular" pitchFamily="2" charset="0"/>
                <a:cs typeface="BMW Group" pitchFamily="2" charset="0"/>
              </a:defRPr>
            </a:lvl1pPr>
          </a:lstStyle>
          <a:p>
            <a:r>
              <a:rPr lang="de-DE" dirty="0"/>
              <a:t>Bild durch Klicken auf das Symbol einfüg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6204657" y="1413933"/>
            <a:ext cx="5508976" cy="470746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8" name="Gerade Verbindung 81"/>
          <p:cNvCxnSpPr/>
          <p:nvPr userDrawn="1"/>
        </p:nvCxnSpPr>
        <p:spPr>
          <a:xfrm>
            <a:off x="-1" y="6298735"/>
            <a:ext cx="12192001" cy="0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9432000" cy="701474"/>
          </a:xfrm>
        </p:spPr>
        <p:txBody>
          <a:bodyPr/>
          <a:lstStyle>
            <a:lvl1pPr algn="l" defTabSz="914377" rtl="0" eaLnBrk="1" latinLnBrk="0" hangingPunct="1">
              <a:lnSpc>
                <a:spcPts val="2700"/>
              </a:lnSpc>
              <a:spcBef>
                <a:spcPct val="0"/>
              </a:spcBef>
              <a:buNone/>
              <a:defRPr lang="de-DE" sz="2600" b="1" kern="1200" cap="all" baseline="0" dirty="0">
                <a:solidFill>
                  <a:srgbClr val="1E2E5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pic>
        <p:nvPicPr>
          <p:cNvPr id="10" name="Inhaltsplatzhalter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514" y="326158"/>
            <a:ext cx="1887119" cy="743525"/>
          </a:xfrm>
          <a:prstGeom prst="rect">
            <a:avLst/>
          </a:prstGeom>
        </p:spPr>
      </p:pic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586156" y="6425347"/>
            <a:ext cx="1127477" cy="331788"/>
          </a:xfrm>
        </p:spPr>
        <p:txBody>
          <a:bodyPr/>
          <a:lstStyle/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488949" y="6425350"/>
            <a:ext cx="9851675" cy="331787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OPYRIGHT © 2022, Members of the openPASS W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" userDrawn="1">
          <p15:clr>
            <a:srgbClr val="FBAE40"/>
          </p15:clr>
        </p15:guide>
        <p15:guide id="2" orient="horz" pos="663" userDrawn="1">
          <p15:clr>
            <a:srgbClr val="FBAE40"/>
          </p15:clr>
        </p15:guide>
        <p15:guide id="3" orient="horz" pos="890" userDrawn="1">
          <p15:clr>
            <a:srgbClr val="FBAE40"/>
          </p15:clr>
        </p15:guide>
        <p15:guide id="4" orient="horz" pos="3858" userDrawn="1">
          <p15:clr>
            <a:srgbClr val="FBAE40"/>
          </p15:clr>
        </p15:guide>
        <p15:guide id="5" orient="horz" pos="4042" userDrawn="1">
          <p15:clr>
            <a:srgbClr val="FBAE40"/>
          </p15:clr>
        </p15:guide>
        <p15:guide id="6" orient="horz" pos="4260" userDrawn="1">
          <p15:clr>
            <a:srgbClr val="FBAE40"/>
          </p15:clr>
        </p15:guide>
        <p15:guide id="7" pos="301" userDrawn="1">
          <p15:clr>
            <a:srgbClr val="FBAE40"/>
          </p15:clr>
        </p15:guide>
        <p15:guide id="8" pos="7384" userDrawn="1">
          <p15:clr>
            <a:srgbClr val="FBAE40"/>
          </p15:clr>
        </p15:guide>
        <p15:guide id="9" pos="3768" userDrawn="1">
          <p15:clr>
            <a:srgbClr val="FBAE40"/>
          </p15:clr>
        </p15:guide>
        <p15:guide id="10" pos="390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488949" y="6425350"/>
            <a:ext cx="9851675" cy="3317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r>
              <a:rPr lang="en-US"/>
              <a:t>COPYRIGHT © 2022, Members of the openPASS WG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10586156" y="6425347"/>
            <a:ext cx="1127477" cy="33178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807A42-CF27-4B84-8583-18EBE418342E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80" name="Rechteck 279"/>
          <p:cNvSpPr/>
          <p:nvPr/>
        </p:nvSpPr>
        <p:spPr>
          <a:xfrm>
            <a:off x="237067" y="177800"/>
            <a:ext cx="240000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/>
          </a:p>
        </p:txBody>
      </p:sp>
      <p:sp>
        <p:nvSpPr>
          <p:cNvPr id="6" name="Titelplatzhalter 5"/>
          <p:cNvSpPr>
            <a:spLocks noGrp="1"/>
          </p:cNvSpPr>
          <p:nvPr>
            <p:ph type="title"/>
          </p:nvPr>
        </p:nvSpPr>
        <p:spPr>
          <a:xfrm>
            <a:off x="488948" y="347184"/>
            <a:ext cx="11224685" cy="70147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ts val="2700"/>
              </a:lnSpc>
            </a:pPr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8" name="empower - DO NOT DELETE!!!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488948" y="1413933"/>
            <a:ext cx="11224685" cy="4707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3" r:id="rId4"/>
    <p:sldLayoutId id="2147483755" r:id="rId5"/>
    <p:sldLayoutId id="2147483756" r:id="rId6"/>
    <p:sldLayoutId id="2147483757" r:id="rId7"/>
    <p:sldLayoutId id="2147483758" r:id="rId8"/>
  </p:sldLayoutIdLst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lang="de-DE" sz="2600" b="1" kern="1200" cap="all" baseline="0" dirty="0">
          <a:solidFill>
            <a:srgbClr val="1E2E5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</p:titleStyle>
    <p:bodyStyle>
      <a:lvl1pPr marL="176213" indent="-176213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59991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39987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19982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99978" indent="-179996" algn="l" defTabSz="914377" rtl="0" eaLnBrk="1" latinLnBrk="0" hangingPunct="1"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lang="de-DE" sz="18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A5E46A-3DB7-C4C8-A7C0-58A1AED577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lor Palette </a:t>
            </a:r>
            <a:r>
              <a:rPr lang="de-DE" dirty="0" err="1"/>
              <a:t>for</a:t>
            </a:r>
            <a:r>
              <a:rPr lang="de-DE" dirty="0"/>
              <a:t> openPASS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3E692F8C-3881-9CBF-4D0B-64A5237336D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88948" y="1048659"/>
            <a:ext cx="9125832" cy="5072742"/>
          </a:xfrm>
          <a:solidFill>
            <a:schemeClr val="bg1"/>
          </a:solidFill>
        </p:spPr>
        <p:txBody>
          <a:bodyPr/>
          <a:lstStyle/>
          <a:p>
            <a:pPr marL="0" indent="0">
              <a:buNone/>
            </a:pPr>
            <a:r>
              <a:rPr lang="de-DE" b="1" dirty="0" err="1">
                <a:latin typeface="Calibri" panose="020F0502020204030204" pitchFamily="34" charset="0"/>
                <a:cs typeface="Calibri" panose="020F0502020204030204" pitchFamily="34" charset="0"/>
              </a:rPr>
              <a:t>Category</a:t>
            </a:r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			Hex		RGB		</a:t>
            </a:r>
            <a:r>
              <a:rPr lang="de-DE" b="1" dirty="0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 b="1" dirty="0">
                <a:latin typeface="Calibri" panose="020F0502020204030204" pitchFamily="34" charset="0"/>
                <a:cs typeface="Calibri" panose="020F0502020204030204" pitchFamily="34" charset="0"/>
              </a:rPr>
              <a:t>/Name</a:t>
            </a: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Main Colour		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1D2D53	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29, 45, 83</a:t>
            </a: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Contras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	(Inverse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main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)	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53431D  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	83, 67, 29</a:t>
            </a: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ccent 1			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ADB9C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	173, 185, 206 </a:t>
            </a: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ccent 2			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FFF5CC 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	255, 245, 204</a:t>
            </a: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Accent 3			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878787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	135, 135, 135</a:t>
            </a: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Background 2		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E1E1E1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	225, 225, 225</a:t>
            </a: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Background 3		</a:t>
            </a:r>
            <a:r>
              <a:rPr lang="de-DE" dirty="0">
                <a:latin typeface="Courier New" panose="02070309020205020404" pitchFamily="49" charset="0"/>
                <a:cs typeface="Courier New" panose="02070309020205020404" pitchFamily="49" charset="0"/>
              </a:rPr>
              <a:t>#BFBFBF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	191, 191, 191</a:t>
            </a: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959A2A7-AC15-B14B-4583-296A23DE71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PYRIGHT © 2022, Members of the openPASS WG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003163A-09DE-E232-3056-9743F8C748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807A42-CF27-4B84-8583-18EBE418342E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3996297-3FD3-50EA-B58D-25CA2EE1F804}"/>
              </a:ext>
            </a:extLst>
          </p:cNvPr>
          <p:cNvSpPr/>
          <p:nvPr/>
        </p:nvSpPr>
        <p:spPr>
          <a:xfrm>
            <a:off x="6911896" y="1744485"/>
            <a:ext cx="1598361" cy="398802"/>
          </a:xfrm>
          <a:prstGeom prst="rect">
            <a:avLst/>
          </a:prstGeom>
          <a:solidFill>
            <a:srgbClr val="1D2D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loud Burs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4D4D0B6-B854-6D8C-06D3-BB39168DEBFF}"/>
              </a:ext>
            </a:extLst>
          </p:cNvPr>
          <p:cNvSpPr/>
          <p:nvPr/>
        </p:nvSpPr>
        <p:spPr>
          <a:xfrm>
            <a:off x="6911898" y="4488417"/>
            <a:ext cx="1598361" cy="398802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Gray</a:t>
            </a:r>
            <a:endParaRPr lang="de-DE" sz="1400" b="0" i="0" u="none" baseline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5FC8404-6872-B060-22D9-F29707F1BBFF}"/>
              </a:ext>
            </a:extLst>
          </p:cNvPr>
          <p:cNvSpPr/>
          <p:nvPr/>
        </p:nvSpPr>
        <p:spPr>
          <a:xfrm>
            <a:off x="6911897" y="3772946"/>
            <a:ext cx="1598361" cy="398802"/>
          </a:xfrm>
          <a:prstGeom prst="rect">
            <a:avLst/>
          </a:prstGeom>
          <a:solidFill>
            <a:srgbClr val="FFF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i="0" dirty="0">
                <a:solidFill>
                  <a:schemeClr val="tx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arley Whit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D4E6969-369A-3C48-02DA-FCAAB810FDDA}"/>
              </a:ext>
            </a:extLst>
          </p:cNvPr>
          <p:cNvSpPr/>
          <p:nvPr/>
        </p:nvSpPr>
        <p:spPr>
          <a:xfrm>
            <a:off x="6911897" y="5187003"/>
            <a:ext cx="1598361" cy="398802"/>
          </a:xfrm>
          <a:prstGeom prst="rect">
            <a:avLst/>
          </a:prstGeom>
          <a:solidFill>
            <a:srgbClr val="E1E1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i="0" u="none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rcury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B324C1D-7739-EED1-9F5E-0A4DE11EA91F}"/>
              </a:ext>
            </a:extLst>
          </p:cNvPr>
          <p:cNvSpPr/>
          <p:nvPr/>
        </p:nvSpPr>
        <p:spPr>
          <a:xfrm>
            <a:off x="6911901" y="3083413"/>
            <a:ext cx="1598361" cy="398802"/>
          </a:xfrm>
          <a:prstGeom prst="rect">
            <a:avLst/>
          </a:prstGeom>
          <a:solidFill>
            <a:srgbClr val="ADB9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i="0" u="none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spe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88AC61E-195F-14AB-1018-5AA368693B8D}"/>
              </a:ext>
            </a:extLst>
          </p:cNvPr>
          <p:cNvSpPr/>
          <p:nvPr/>
        </p:nvSpPr>
        <p:spPr>
          <a:xfrm>
            <a:off x="6911896" y="2405809"/>
            <a:ext cx="1598361" cy="398802"/>
          </a:xfrm>
          <a:prstGeom prst="rect">
            <a:avLst/>
          </a:prstGeom>
          <a:solidFill>
            <a:srgbClr val="5343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i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Metallic Bronze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37C6BA9-C2F1-F9B8-5627-5010F49ED7CD}"/>
              </a:ext>
            </a:extLst>
          </p:cNvPr>
          <p:cNvSpPr/>
          <p:nvPr/>
        </p:nvSpPr>
        <p:spPr>
          <a:xfrm>
            <a:off x="6911895" y="5891201"/>
            <a:ext cx="1598361" cy="398802"/>
          </a:xfrm>
          <a:prstGeom prst="rect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400" b="1" i="0" u="none" baseline="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lver</a:t>
            </a:r>
            <a:endParaRPr lang="de-DE" sz="1400" b="1" i="0" u="none" baseline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670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4"/>
  <p:tag name="MIO_SHOW_DATE" val="False"/>
  <p:tag name="MIO_SHOW_FOOTER" val="True"/>
  <p:tag name="MIO_SHOW_PAGENUMBER" val="True"/>
  <p:tag name="MIO_AVOID_BLANK_LAYOUT" val="True"/>
  <p:tag name="MIO_NUMBER_OF_VALID_LAYOUTS" val="15"/>
  <p:tag name="MIO_MST_COLOR_1" val="0,0,0,Dunkel 1"/>
  <p:tag name="MIO_MST_COLOR_2" val="255,255,255,Hell 1"/>
  <p:tag name="MIO_MST_COLOR_3" val="64,64,64,Dunkel 2"/>
  <p:tag name="MIO_MST_COLOR_4" val="146,162,189,Hell 2"/>
  <p:tag name="MIO_MST_COLOR_5" val="102,113,132,Akzent 1"/>
  <p:tag name="MIO_MST_COLOR_6" val="146,162,189,Akzent 2"/>
  <p:tag name="MIO_MST_COLOR_7" val="173,185,206,Akzent 3"/>
  <p:tag name="MIO_MST_COLOR_8" val="201,209,222,Akzent 4"/>
  <p:tag name="MIO_MST_COLOR_9" val="228,232,238,Akzent 5"/>
  <p:tag name="MIO_MST_COLOR_10" val="221,218,210,Akzent 6"/>
  <p:tag name="MIO_MST_COLOR_11" val="0,0,0,"/>
  <p:tag name="MIO_MST_COLOR_12" val="0,0,0,"/>
  <p:tag name="MIO_HDS" val="True"/>
  <p:tag name="MIO_EK" val="1989"/>
  <p:tag name="MIO_UPDATE" val="True"/>
  <p:tag name="MIO_VERSION" val="23.10.2015 16:52:00"/>
  <p:tag name="MIO_DBID" val="917DD09C-76C3-4640-8E0D-382111CB3B69"/>
  <p:tag name="MIO_LASTDOWNLOADED" val="30.10.2015 14:18:05"/>
  <p:tag name="MIO_OBJECTNAME" val="BMW Group 4:3"/>
  <p:tag name="MIO_LASTEDITORNAME" val="empower enterprise"/>
</p:tagLst>
</file>

<file path=ppt/theme/theme1.xml><?xml version="1.0" encoding="utf-8"?>
<a:theme xmlns:a="http://schemas.openxmlformats.org/drawingml/2006/main" name="BMW Group 16:9">
  <a:themeElements>
    <a:clrScheme name="Warmes Blau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BMW GROUP">
      <a:majorFont>
        <a:latin typeface="BMW Group Condensed"/>
        <a:ea typeface=""/>
        <a:cs typeface=""/>
      </a:majorFont>
      <a:minorFont>
        <a:latin typeface="BMW Group Condensed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CCCCC"/>
        </a:solidFill>
        <a:ln>
          <a:noFill/>
        </a:ln>
      </a:spPr>
      <a:bodyPr rtlCol="0" anchor="t"/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err="1" smtClean="0">
            <a:solidFill>
              <a:srgbClr val="666666"/>
            </a:solidFill>
            <a:latin typeface="BMW Group Condensed" panose="020B0606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92A2BD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BMW Group Condensed" panose="020B0606020202020204" pitchFamily="34" charset="0"/>
          </a:defRPr>
        </a:defPPr>
      </a:lstStyle>
    </a:txDef>
  </a:objectDefaults>
  <a:extraClrSchemeLst/>
  <a:custClrLst>
    <a:custClr name="Grundfarbe Schwarz">
      <a:srgbClr val="000000"/>
    </a:custClr>
    <a:custClr name="Grundfarbe Graubraun 1">
      <a:srgbClr val="555147"/>
    </a:custClr>
    <a:custClr name="Grundfarbe Blau 1">
      <a:srgbClr val="667084"/>
    </a:custClr>
    <a:custClr name="Grundfarbe Gruen 1">
      <a:srgbClr val="747400"/>
    </a:custClr>
    <a:custClr name="Grundfarbe Gelb 1">
      <a:srgbClr val="BE9809"/>
    </a:custClr>
    <a:custClr name="Akzentfarbe Orange 1">
      <a:srgbClr val="FE6700"/>
    </a:custClr>
    <a:custClr name="Akzentfarbe Braun 1">
      <a:srgbClr val="5B4334"/>
    </a:custClr>
    <a:custClr name="Akzentfarbe Rot 1">
      <a:srgbClr val="7C0A0E"/>
    </a:custClr>
    <a:custClr name="Zusatzfarbe Blau 1">
      <a:srgbClr val="3F7BFD"/>
    </a:custClr>
    <a:custClr name="Zusatzfarbe Gruen 1">
      <a:srgbClr val="3D6A3C"/>
    </a:custClr>
    <a:custClr name="Grundfarbe Grau 1">
      <a:srgbClr val="404040"/>
    </a:custClr>
    <a:custClr name="Grundfarbe Graubraun 2">
      <a:srgbClr val="7F7A6A"/>
    </a:custClr>
    <a:custClr name="Grundfarbe Blau 2">
      <a:srgbClr val="92A2BD"/>
    </a:custClr>
    <a:custClr name="Grundfarbe Gruen 2">
      <a:srgbClr val="959500"/>
    </a:custClr>
    <a:custClr name="Grundfarbe Gelb 2">
      <a:srgbClr val="FECB00"/>
    </a:custClr>
    <a:custClr name="Akzentfarbe Orange 2">
      <a:srgbClr val="FE8533"/>
    </a:custClr>
    <a:custClr name="Akzentfarbe Braun 2">
      <a:srgbClr val="9C5C48"/>
    </a:custClr>
    <a:custClr name="Akzentfarbe Rot 2">
      <a:srgbClr val="B20F14"/>
    </a:custClr>
    <a:custClr name="Zusatzfarbe Blau 2">
      <a:srgbClr val="6595FD"/>
    </a:custClr>
    <a:custClr name="Zusatzfarbe Gruen 2">
      <a:srgbClr val="648863"/>
    </a:custClr>
    <a:custClr name="Grundfarbe Grau 2">
      <a:srgbClr val="666666"/>
    </a:custClr>
    <a:custClr name="Grundfarbe Graubraun 3">
      <a:srgbClr val="AAA38E"/>
    </a:custClr>
    <a:custClr name="Grundfarbe Blau 3">
      <a:srgbClr val="ADB9CE"/>
    </a:custClr>
    <a:custClr name="Grundfarbe Gruen 3">
      <a:srgbClr val="B0B040"/>
    </a:custClr>
    <a:custClr name="Grundfarbe Gelb 3">
      <a:srgbClr val="FEE372"/>
    </a:custClr>
    <a:custClr name="Akzentfarbe Orange 3">
      <a:srgbClr val="FEA466"/>
    </a:custClr>
    <a:custClr name="Akzentfarbe Braun 3">
      <a:srgbClr val="976F57"/>
    </a:custClr>
    <a:custClr name="Akzentfarbe Rot 3">
      <a:srgbClr val="D16F72"/>
    </a:custClr>
    <a:custClr name="Zusatzfarbe Blau 3">
      <a:srgbClr val="8CB0FE"/>
    </a:custClr>
    <a:custClr name="Zusatzfarbe Gruen 3">
      <a:srgbClr val="8BA68A"/>
    </a:custClr>
    <a:custClr name="Grundfarbe Grau 3">
      <a:srgbClr val="999999"/>
    </a:custClr>
    <a:custClr name="Grundfarbe Graubraun 4">
      <a:srgbClr val="BFBAAA"/>
    </a:custClr>
    <a:custClr name="Grundfarbe Blau 4">
      <a:srgbClr val="C9D1DE"/>
    </a:custClr>
    <a:custClr name="Grundfarbe Gruen 4">
      <a:srgbClr val="CFCF8C"/>
    </a:custClr>
    <a:custClr name="Grundfarbe Gelb 4">
      <a:srgbClr val="FFEA99"/>
    </a:custClr>
    <a:custClr name="Akzentfarbe Orange 4">
      <a:srgbClr val="FFC299"/>
    </a:custClr>
    <a:custClr name="Akzentfarbe Braun 4">
      <a:srgbClr val="B19395"/>
    </a:custClr>
    <a:custClr name="Akzentfarbe Rot 4">
      <a:srgbClr val="DF9A9C"/>
    </a:custClr>
    <a:custClr name="Zusatzfarbe Blau 4">
      <a:srgbClr val="B2CAFE"/>
    </a:custClr>
    <a:custClr name="Zusatzfarbe Gruen 4">
      <a:srgbClr val="B1C3B1"/>
    </a:custClr>
    <a:custClr name="Grundfarbe Grau 4">
      <a:srgbClr val="CCCCCC"/>
    </a:custClr>
    <a:custClr name="Grundfarbe Graubraun 5">
      <a:srgbClr val="DDDAD2"/>
    </a:custClr>
    <a:custClr name="Grundfarbe Blau 5">
      <a:srgbClr val="E4E8EE"/>
    </a:custClr>
    <a:custClr name="Grundfarbe Gruen 5">
      <a:srgbClr val="EAEACC"/>
    </a:custClr>
    <a:custClr name="Grundfarbe Gelb 5">
      <a:srgbClr val="FFF5CC"/>
    </a:custClr>
    <a:custClr name="Akzentfarbe Orange 5">
      <a:srgbClr val="FFE1CC"/>
    </a:custClr>
    <a:custClr name="Akzentfarbe Braun 5">
      <a:srgbClr val="C8B3A6"/>
    </a:custClr>
    <a:custClr name="Akzentfarbe Rot 5">
      <a:srgbClr val="EABEBF"/>
    </a:custClr>
    <a:custClr name="Zusatzfarbe Blau 5">
      <a:srgbClr val="D9E5FF"/>
    </a:custClr>
    <a:custClr name="Zusatzfarbe Gruen 5">
      <a:srgbClr val="D8E1D8"/>
    </a:custClr>
  </a:custClrLst>
  <a:extLst>
    <a:ext uri="{05A4C25C-085E-4340-85A3-A5531E510DB2}">
      <thm15:themeFamily xmlns:thm15="http://schemas.microsoft.com/office/thememl/2012/main" name="BMWGroup_BMW+MINI_D_16zu9.pptx" id="{2D0F0DBE-D624-4F30-BB2F-A3692BE3DB81}" vid="{32D902AF-D842-41C2-B25B-4CF6293FFDA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enutzerdefiniert 4">
      <a:majorFont>
        <a:latin typeface="BMW Group"/>
        <a:ea typeface=""/>
        <a:cs typeface=""/>
      </a:majorFont>
      <a:minorFont>
        <a:latin typeface="BMW Group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MComments xmlns="a2c1e0e3-eb6f-4900-b615-28b410e5cedf" xsi:nil="true"/>
    <RevIMDeletionDate xmlns="a2c1e0e3-eb6f-4900-b615-28b410e5cedf">2025-06-07T11:00:12+00:00</RevIMDeletionDate>
    <TaxCatchAll xmlns="a2c1e0e3-eb6f-4900-b615-28b410e5cedf">
      <Value>1</Value>
    </TaxCatchAll>
    <lcf76f155ced4ddcb4097134ff3c332f xmlns="feba20c9-0881-4495-9ebf-ab8905f62046">
      <Terms xmlns="http://schemas.microsoft.com/office/infopath/2007/PartnerControls"/>
    </lcf76f155ced4ddcb4097134ff3c332f>
    <RevIMExtends xmlns="a2c1e0e3-eb6f-4900-b615-28b410e5cedf">{"Classified":"2023-06-07T11:00:52.358Z","KSUClass":"0239cc7a-0c96-48a8-9e0e-a383e362571c"}</RevIMExtends>
    <i0f84bba906045b4af568ee102a52dcb xmlns="a2c1e0e3-eb6f-4900-b615-28b410e5cedf">
      <Terms xmlns="http://schemas.microsoft.com/office/infopath/2007/PartnerControls">
        <TermInfo xmlns="http://schemas.microsoft.com/office/infopath/2007/PartnerControls">
          <TermName xmlns="http://schemas.microsoft.com/office/infopath/2007/PartnerControls">0.1 Initial category</TermName>
          <TermId xmlns="http://schemas.microsoft.com/office/infopath/2007/PartnerControls">0239cc7a-0c96-48a8-9e0e-a383e362571c</TermId>
        </TermInfo>
      </Terms>
    </i0f84bba906045b4af568ee102a52dcb>
    <ge8aff83ee7b416aab60719a15d8c581 xmlns="a2c1e0e3-eb6f-4900-b615-28b410e5cedf">
      <Terms xmlns="http://schemas.microsoft.com/office/infopath/2007/PartnerControls"/>
    </ge8aff83ee7b416aab60719a15d8c581>
    <RevIMEventDate xmlns="a2c1e0e3-eb6f-4900-b615-28b410e5cedf" xsi:nil="true"/>
    <IconOverlay xmlns="http://schemas.microsoft.com/sharepoint/v4" xsi:nil="true"/>
    <link xmlns="feba20c9-0881-4495-9ebf-ab8905f62046">
      <Url xsi:nil="true"/>
      <Description xsi:nil="true"/>
    </link>
    <RevIMDocumentOwner xmlns="a2c1e0e3-eb6f-4900-b615-28b410e5cedf">
      <UserInfo>
        <DisplayName/>
        <AccountId xsi:nil="true"/>
        <AccountType/>
      </UserInfo>
    </RevIMDocumentOwner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194672D55F2884C903D2DD37FA04993" ma:contentTypeVersion="27" ma:contentTypeDescription="Create a new document." ma:contentTypeScope="" ma:versionID="de0c4f6e330fc757850d9470a08d3391">
  <xsd:schema xmlns:xsd="http://www.w3.org/2001/XMLSchema" xmlns:xs="http://www.w3.org/2001/XMLSchema" xmlns:p="http://schemas.microsoft.com/office/2006/metadata/properties" xmlns:ns1="http://schemas.microsoft.com/sharepoint/v3" xmlns:ns2="a2c1e0e3-eb6f-4900-b615-28b410e5cedf" xmlns:ns3="feba20c9-0881-4495-9ebf-ab8905f62046" xmlns:ns4="http://schemas.microsoft.com/sharepoint/v4" targetNamespace="http://schemas.microsoft.com/office/2006/metadata/properties" ma:root="true" ma:fieldsID="38f883fde7ba3fc6a074f5acd6d197b3" ns1:_="" ns2:_="" ns3:_="" ns4:_="">
    <xsd:import namespace="http://schemas.microsoft.com/sharepoint/v3"/>
    <xsd:import namespace="a2c1e0e3-eb6f-4900-b615-28b410e5cedf"/>
    <xsd:import namespace="feba20c9-0881-4495-9ebf-ab8905f62046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ge8aff83ee7b416aab60719a15d8c581" minOccurs="0"/>
                <xsd:element ref="ns2:TaxCatchAll" minOccurs="0"/>
                <xsd:element ref="ns2:TaxCatchAllLabel" minOccurs="0"/>
                <xsd:element ref="ns2:i0f84bba906045b4af568ee102a52dcb" minOccurs="0"/>
                <xsd:element ref="ns2:RevIMDeletionDate" minOccurs="0"/>
                <xsd:element ref="ns2:RevIMEventDate" minOccurs="0"/>
                <xsd:element ref="ns2:RevIMComments" minOccurs="0"/>
                <xsd:element ref="ns2:RevIMDocumentOwner" minOccurs="0"/>
                <xsd:element ref="ns2:RevIMExtend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2:SharedWithUsers" minOccurs="0"/>
                <xsd:element ref="ns2:SharedWithDetail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4:IconOverlay" minOccurs="0"/>
                <xsd:element ref="ns1:_vti_ItemDeclaredRecord" minOccurs="0"/>
                <xsd:element ref="ns1:_vti_ItemHoldRecordStatus" minOccurs="0"/>
                <xsd:element ref="ns3:lcf76f155ced4ddcb4097134ff3c332f" minOccurs="0"/>
                <xsd:element ref="ns3:MediaLengthInSeconds" minOccurs="0"/>
                <xsd:element ref="ns3:MediaServiceLocation" minOccurs="0"/>
                <xsd:element ref="ns3:link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DeclaredRecord" ma:index="31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32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c1e0e3-eb6f-4900-b615-28b410e5cedf" elementFormDefault="qualified">
    <xsd:import namespace="http://schemas.microsoft.com/office/2006/documentManagement/types"/>
    <xsd:import namespace="http://schemas.microsoft.com/office/infopath/2007/PartnerControls"/>
    <xsd:element name="ge8aff83ee7b416aab60719a15d8c581" ma:index="8" nillable="true" ma:taxonomy="true" ma:internalName="ge8aff83ee7b416aab60719a15d8c581" ma:taxonomyFieldName="LegalHoldTag" ma:displayName="LegalHold" ma:fieldId="{0e8aff83-ee7b-416a-ab60-719a15d8c581}" ma:taxonomyMulti="true" ma:sspId="d35d9ec1-ff0e-4daf-94ff-594c76aa1822" ma:termSetId="1d36a6df-4193-45ed-b3bc-3ba9643c5e0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4ac135c6-64e4-41d6-9bec-45d0ceaaec83}" ma:internalName="TaxCatchAll" ma:showField="CatchAllData" ma:web="a2c1e0e3-eb6f-4900-b615-28b410e5ce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4ac135c6-64e4-41d6-9bec-45d0ceaaec83}" ma:internalName="TaxCatchAllLabel" ma:readOnly="true" ma:showField="CatchAllDataLabel" ma:web="a2c1e0e3-eb6f-4900-b615-28b410e5ced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0f84bba906045b4af568ee102a52dcb" ma:index="13" nillable="true" ma:taxonomy="true" ma:internalName="i0f84bba906045b4af568ee102a52dcb" ma:taxonomyFieldName="RevIMBCS" ma:displayName="CSD Class" ma:readOnly="true" ma:default="4;#0.2 Arbeitsunterlagen|5815ef7b-d718-4687-845c-1f016238fb1d" ma:fieldId="{20f84bba-9060-45b4-af56-8ee102a52dcb}" ma:sspId="d35d9ec1-ff0e-4daf-94ff-594c76aa1822" ma:termSetId="83f400d6-6f53-40a3-8fd2-b80b61df545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RevIMDeletionDate" ma:index="14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15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16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17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18" nillable="true" ma:displayName="RevIMExtends" ma:hidden="true" ma:internalName="RevIMExtends" ma:readOnly="true">
      <xsd:simpleType>
        <xsd:restriction base="dms:Note"/>
      </xsd:simpleType>
    </xsd:element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ba20c9-0881-4495-9ebf-ab8905f6204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25" nillable="true" ma:displayName="Tags" ma:internalName="MediaServiceAutoTags" ma:readOnly="true">
      <xsd:simpleType>
        <xsd:restriction base="dms:Text"/>
      </xsd:simpleType>
    </xsd:element>
    <xsd:element name="MediaServiceOCR" ma:index="2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9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34" nillable="true" ma:taxonomy="true" ma:internalName="lcf76f155ced4ddcb4097134ff3c332f" ma:taxonomyFieldName="MediaServiceImageTags" ma:displayName="Image Tags" ma:readOnly="false" ma:fieldId="{5cf76f15-5ced-4ddc-b409-7134ff3c332f}" ma:taxonomyMulti="true" ma:sspId="d35d9ec1-ff0e-4daf-94ff-594c76aa18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3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36" nillable="true" ma:displayName="Location" ma:description="" ma:indexed="true" ma:internalName="MediaServiceLocation" ma:readOnly="true">
      <xsd:simpleType>
        <xsd:restriction base="dms:Text"/>
      </xsd:simpleType>
    </xsd:element>
    <xsd:element name="link" ma:index="37" nillable="true" ma:displayName="link" ma:format="Hyperlink" ma:internalName="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30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C88003-770C-4433-B7C9-F6E45150DE3C}">
  <ds:schemaRefs>
    <ds:schemaRef ds:uri="feba20c9-0881-4495-9ebf-ab8905f62046"/>
    <ds:schemaRef ds:uri="http://purl.org/dc/elements/1.1/"/>
    <ds:schemaRef ds:uri="http://schemas.microsoft.com/sharepoint/v4"/>
    <ds:schemaRef ds:uri="http://www.w3.org/XML/1998/namespace"/>
    <ds:schemaRef ds:uri="http://schemas.openxmlformats.org/package/2006/metadata/core-properties"/>
    <ds:schemaRef ds:uri="http://purl.org/dc/terms/"/>
    <ds:schemaRef ds:uri="http://schemas.microsoft.com/sharepoint/v3"/>
    <ds:schemaRef ds:uri="http://purl.org/dc/dcmitype/"/>
    <ds:schemaRef ds:uri="a2c1e0e3-eb6f-4900-b615-28b410e5cedf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4CE2B4B-7390-4BAF-86A7-5FD88C5930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C28DB21-B35B-4E53-866A-C3E906FDD9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2c1e0e3-eb6f-4900-b615-28b410e5cedf"/>
    <ds:schemaRef ds:uri="feba20c9-0881-4495-9ebf-ab8905f62046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MWGroup_BMW+MINI_D_16zu9</Template>
  <TotalTime>0</TotalTime>
  <Words>128</Words>
  <Application>Microsoft Office PowerPoint</Application>
  <PresentationFormat>Breitbild</PresentationFormat>
  <Paragraphs>25</Paragraphs>
  <Slides>1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BMW Group</vt:lpstr>
      <vt:lpstr>BMW Group Condensed</vt:lpstr>
      <vt:lpstr>Calibri</vt:lpstr>
      <vt:lpstr>Courier New</vt:lpstr>
      <vt:lpstr>Symbol</vt:lpstr>
      <vt:lpstr>BMW Group 16:9</vt:lpstr>
      <vt:lpstr>Color Palette for openPASS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ahrenkrog Felix, EG-342</dc:creator>
  <cp:lastModifiedBy>Schoenawa, Stefan, Dr. (K-GERM/A)</cp:lastModifiedBy>
  <cp:revision>549</cp:revision>
  <dcterms:created xsi:type="dcterms:W3CDTF">2017-05-03T05:43:33Z</dcterms:created>
  <dcterms:modified xsi:type="dcterms:W3CDTF">2023-06-08T13:34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9194672D55F2884C903D2DD37FA04993</vt:lpwstr>
  </property>
  <property fmtid="{D5CDD505-2E9C-101B-9397-08002B2CF9AE}" pid="4" name="RevIMBCS">
    <vt:lpwstr>1;#0.1 Initial category|0239cc7a-0c96-48a8-9e0e-a383e362571c</vt:lpwstr>
  </property>
  <property fmtid="{D5CDD505-2E9C-101B-9397-08002B2CF9AE}" pid="5" name="LegalHoldTag">
    <vt:lpwstr/>
  </property>
  <property fmtid="{D5CDD505-2E9C-101B-9397-08002B2CF9AE}" pid="6" name="MSIP_Label_b1c9b508-7c6e-42bd-bedf-808292653d6c_Enabled">
    <vt:lpwstr>true</vt:lpwstr>
  </property>
  <property fmtid="{D5CDD505-2E9C-101B-9397-08002B2CF9AE}" pid="7" name="MSIP_Label_b1c9b508-7c6e-42bd-bedf-808292653d6c_SetDate">
    <vt:lpwstr>2023-06-08T12:31:20Z</vt:lpwstr>
  </property>
  <property fmtid="{D5CDD505-2E9C-101B-9397-08002B2CF9AE}" pid="8" name="MSIP_Label_b1c9b508-7c6e-42bd-bedf-808292653d6c_Method">
    <vt:lpwstr>Standard</vt:lpwstr>
  </property>
  <property fmtid="{D5CDD505-2E9C-101B-9397-08002B2CF9AE}" pid="9" name="MSIP_Label_b1c9b508-7c6e-42bd-bedf-808292653d6c_Name">
    <vt:lpwstr>b1c9b508-7c6e-42bd-bedf-808292653d6c</vt:lpwstr>
  </property>
  <property fmtid="{D5CDD505-2E9C-101B-9397-08002B2CF9AE}" pid="10" name="MSIP_Label_b1c9b508-7c6e-42bd-bedf-808292653d6c_SiteId">
    <vt:lpwstr>2882be50-2012-4d88-ac86-544124e120c8</vt:lpwstr>
  </property>
  <property fmtid="{D5CDD505-2E9C-101B-9397-08002B2CF9AE}" pid="11" name="MSIP_Label_b1c9b508-7c6e-42bd-bedf-808292653d6c_ActionId">
    <vt:lpwstr>fbcd3999-6dfe-4a13-879e-8ffd64e52a3f</vt:lpwstr>
  </property>
  <property fmtid="{D5CDD505-2E9C-101B-9397-08002B2CF9AE}" pid="12" name="MSIP_Label_b1c9b508-7c6e-42bd-bedf-808292653d6c_ContentBits">
    <vt:lpwstr>3</vt:lpwstr>
  </property>
</Properties>
</file>